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62" r:id="rId9"/>
    <p:sldId id="1975" r:id="rId10"/>
    <p:sldId id="1976" r:id="rId11"/>
    <p:sldId id="1977" r:id="rId12"/>
    <p:sldId id="1978" r:id="rId13"/>
    <p:sldId id="1979" r:id="rId14"/>
    <p:sldId id="1980" r:id="rId15"/>
    <p:sldId id="1981" r:id="rId16"/>
    <p:sldId id="1982" r:id="rId17"/>
    <p:sldId id="1951" r:id="rId18"/>
    <p:sldId id="1959" r:id="rId19"/>
    <p:sldId id="1961" r:id="rId20"/>
    <p:sldId id="1953" r:id="rId21"/>
    <p:sldId id="1956" r:id="rId22"/>
    <p:sldId id="1965" r:id="rId23"/>
    <p:sldId id="1974" r:id="rId24"/>
    <p:sldId id="1963" r:id="rId25"/>
    <p:sldId id="1966" r:id="rId26"/>
    <p:sldId id="1964" r:id="rId27"/>
    <p:sldId id="1967" r:id="rId28"/>
    <p:sldId id="1968" r:id="rId29"/>
    <p:sldId id="1969" r:id="rId30"/>
    <p:sldId id="1970" r:id="rId31"/>
    <p:sldId id="1971" r:id="rId32"/>
    <p:sldId id="1972" r:id="rId33"/>
    <p:sldId id="1973" r:id="rId34"/>
  </p:sldIdLst>
  <p:sldSz cx="9144000" cy="6858000" type="screen4x3"/>
  <p:notesSz cx="6858000" cy="9661525"/>
  <p:custShowLst>
    <p:custShow name="Mustermann1" id="0">
      <p:sldLst/>
    </p:custShow>
  </p:custShowLst>
  <p:custDataLst>
    <p:tags r:id="rId3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51" d="100"/>
          <a:sy n="151" d="100"/>
        </p:scale>
        <p:origin x="1992" y="15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7374C554-11B3-48EB-9740-621AA1D8993C}" type="pres">
      <dgm:prSet presAssocID="{264BE61B-92A3-4AD0-8A98-24C10B153985}" presName="rootConnector" presStyleLbl="node2" presStyleIdx="6" presStyleCnt="7"/>
      <dgm:spPr/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Überblick Transfermarkt</a:t>
          </a:r>
        </a:p>
      </dsp:txBody>
      <dsp:txXfrm>
        <a:off x="2580479" y="2266"/>
        <a:ext cx="2903039" cy="1090084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Zwischenstand Web-Scraping</a:t>
          </a:r>
        </a:p>
      </dsp:txBody>
      <dsp:txXfrm>
        <a:off x="2580479" y="1146854"/>
        <a:ext cx="2903039" cy="1090084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Benchmarking</a:t>
          </a:r>
        </a:p>
      </dsp:txBody>
      <dsp:txXfrm>
        <a:off x="2580479" y="2291443"/>
        <a:ext cx="2903039" cy="1090084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Next Steps</a:t>
          </a:r>
        </a:p>
      </dsp:txBody>
      <dsp:txXfrm>
        <a:off x="2580479" y="3436031"/>
        <a:ext cx="2903039" cy="10900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Auslagern von Web-</a:t>
          </a:r>
          <a:r>
            <a:rPr lang="de-DE" sz="1300" kern="1200" dirty="0" err="1"/>
            <a:t>Scraping</a:t>
          </a:r>
          <a:r>
            <a:rPr lang="de-DE" sz="1300" kern="1200" dirty="0"/>
            <a:t>-Code in separate Python-Dateien</a:t>
          </a:r>
        </a:p>
      </dsp:txBody>
      <dsp:txXfrm>
        <a:off x="79179" y="1434150"/>
        <a:ext cx="1398134" cy="1660080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000" kern="1200"/>
            <a:t>z. B. Siege, Unentschieden und Niederlagen in den letzten x Spielen</a:t>
          </a:r>
        </a:p>
      </dsp:txBody>
      <dsp:txXfrm>
        <a:off x="1706056" y="1434150"/>
        <a:ext cx="1398134" cy="1660080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Statistische Datenanalyse</a:t>
          </a:r>
        </a:p>
      </dsp:txBody>
      <dsp:txXfrm>
        <a:off x="3332932" y="1434150"/>
        <a:ext cx="1398134" cy="1660080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Feature Engineering und Modelling</a:t>
          </a:r>
        </a:p>
      </dsp:txBody>
      <dsp:txXfrm>
        <a:off x="4959808" y="1434150"/>
        <a:ext cx="1398134" cy="1660080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Modellevaluation und Benchmarking</a:t>
          </a:r>
        </a:p>
      </dsp:txBody>
      <dsp:txXfrm>
        <a:off x="6586685" y="1434150"/>
        <a:ext cx="1398134" cy="166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6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7FF883-BE3B-947C-F620-3B1ABD3BC4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795EBAF-B4CA-71BE-3F87-029800A66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44651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B422A3-1BF5-B6A5-4FDA-9BAFA8113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492AABD-4421-66CE-C134-9215AC189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307" y="1448672"/>
            <a:ext cx="7322061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2605043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val="318375402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51A6D85-3D71-3806-3060-B018A7DF89B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75848" y="1623755"/>
            <a:ext cx="5458979" cy="417881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</p:spTree>
    <p:extLst>
      <p:ext uri="{BB962C8B-B14F-4D97-AF65-F5344CB8AC3E}">
        <p14:creationId xmlns:p14="http://schemas.microsoft.com/office/powerpoint/2010/main" val="3518569522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A53E07B-9265-78F5-9EAE-AC2FEC43E4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D0CDF782-890E-9447-12F5-53DE59E60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15421" y="1448672"/>
            <a:ext cx="5579832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9637152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FF0AED-C5E0-C1F3-CB3A-BEFD0E448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0726E26-DDA9-3133-E8BB-13DAA836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9689" y="1448672"/>
            <a:ext cx="7291296" cy="433832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0473851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atenanalys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F473940-278E-2B1A-AE54-97203F3B5AA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032" y="1449388"/>
            <a:ext cx="7628611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31244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4="http://schemas.microsoft.com/office/drawing/2010/main" xmlns=""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4="http://schemas.microsoft.com/office/drawing/2010/main" xmlns="" xmlns:a16="http://schemas.microsoft.com/office/drawing/2014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14218804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odelle</a:t>
            </a:r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der Spielergebni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pic>
        <p:nvPicPr>
          <p:cNvPr id="5" name="Inhaltsplatzhalter 4" descr="Percentage distribution of the RESULT column.jpe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2379" y="1449388"/>
            <a:ext cx="7545917" cy="4527550"/>
          </a:xfrm>
        </p:spPr>
      </p:pic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eilung der Spielergebnisse</a:t>
            </a:r>
          </a:p>
        </p:txBody>
      </p:sp>
    </p:spTree>
  </p:cSld>
  <p:clrMapOvr>
    <a:masterClrMapping/>
  </p:clrMapOvr>
  <p:transition>
    <p:dissolv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</a:t>
            </a:r>
            <a:r>
              <a:rPr lang="de-DE" dirty="0" err="1"/>
              <a:t>Accuracy</a:t>
            </a:r>
            <a:r>
              <a:rPr lang="de-DE" dirty="0"/>
              <a:t>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Metriken</a:t>
            </a:r>
            <a:r>
              <a:rPr lang="de-DE" dirty="0"/>
              <a:t>, messen der </a:t>
            </a:r>
            <a:r>
              <a:rPr lang="de-DE" dirty="0" err="1"/>
              <a:t>Prognoseergebnisse</a:t>
            </a:r>
            <a:r>
              <a:rPr lang="de-DE" dirty="0"/>
              <a:t> (F1-Score)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6" name="Grafik 5" descr="Model Performance Based on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751" y="1260896"/>
            <a:ext cx="7280693" cy="485379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Model Performance Based on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860" y="1145878"/>
            <a:ext cx="7455375" cy="4970250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otal F1-Score </a:t>
            </a:r>
            <a:r>
              <a:rPr lang="de-DE" dirty="0" err="1"/>
              <a:t>class</a:t>
            </a:r>
            <a:r>
              <a:rPr lang="de-DE" dirty="0"/>
              <a:t> 0 (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win</a:t>
            </a:r>
            <a:r>
              <a:rPr lang="de-DE" dirty="0"/>
              <a:t>)</a:t>
            </a:r>
          </a:p>
        </p:txBody>
      </p:sp>
      <p:pic>
        <p:nvPicPr>
          <p:cNvPr id="5" name="Grafik 4" descr="Model Performance Based on Total_F1-Score_Class_0 _away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785" y="1178944"/>
            <a:ext cx="7366958" cy="4911306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Top 7 Clubs Based on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90" y="1112807"/>
            <a:ext cx="7619280" cy="5079521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Balanced</a:t>
            </a:r>
            <a:r>
              <a:rPr lang="de-DE" dirty="0"/>
              <a:t> </a:t>
            </a:r>
            <a:r>
              <a:rPr lang="de-DE" dirty="0" err="1"/>
              <a:t>Accuracy</a:t>
            </a:r>
            <a:endParaRPr lang="de-DE" dirty="0"/>
          </a:p>
        </p:txBody>
      </p:sp>
      <p:pic>
        <p:nvPicPr>
          <p:cNvPr id="5" name="Grafik 4" descr="Top 7 Clubs Based on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2" y="1118559"/>
            <a:ext cx="7470475" cy="4980316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5" name="Grafik 4" descr="Top 7 Clubs Based on home_f1-score_class_2 _home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85" y="1108497"/>
            <a:ext cx="7537327" cy="50248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analy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st F1-Scor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win</a:t>
            </a:r>
            <a:endParaRPr lang="de-DE" dirty="0"/>
          </a:p>
        </p:txBody>
      </p:sp>
      <p:pic>
        <p:nvPicPr>
          <p:cNvPr id="5" name="Grafik 4" descr="Top 7 Clubs Based on away_f1-score_class_2 _home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11369"/>
            <a:ext cx="7623596" cy="508239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4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C1DBF-08C5-3891-7F27-61372FB3B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3EDF79-875E-82CF-D05E-06E2B216A2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0B8DBCA-6FC7-4F83-CE7D-2AE1886194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144" y="1578035"/>
            <a:ext cx="5294387" cy="427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7038663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916</Words>
  <Application>Microsoft Office PowerPoint</Application>
  <PresentationFormat>Bildschirmpräsentation (4:3)</PresentationFormat>
  <Paragraphs>266</Paragraphs>
  <Slides>33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3</vt:i4>
      </vt:variant>
      <vt:variant>
        <vt:lpstr>Zielgruppenorientierte Präsentationen</vt:lpstr>
      </vt:variant>
      <vt:variant>
        <vt:i4>1</vt:i4>
      </vt:variant>
    </vt:vector>
  </HeadingPairs>
  <TitlesOfParts>
    <vt:vector size="41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Web Mining </vt:lpstr>
      <vt:lpstr>Benchmark</vt:lpstr>
      <vt:lpstr>Modellsignifikanz</vt:lpstr>
      <vt:lpstr>Modellsignifikanz</vt:lpstr>
      <vt:lpstr>Web Mining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Luca Janas</cp:lastModifiedBy>
  <cp:revision>653</cp:revision>
  <cp:lastPrinted>2010-04-29T14:30:22Z</cp:lastPrinted>
  <dcterms:created xsi:type="dcterms:W3CDTF">2010-04-29T12:39:23Z</dcterms:created>
  <dcterms:modified xsi:type="dcterms:W3CDTF">2023-09-09T18:4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7-24T14:28:40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65dc27b7-3b2c-4347-bd0c-802320f5ec04</vt:lpwstr>
  </property>
  <property fmtid="{D5CDD505-2E9C-101B-9397-08002B2CF9AE}" pid="8" name="MSIP_Label_0359f705-2ba0-454b-9cfc-6ce5bcaac040_ContentBits">
    <vt:lpwstr>2</vt:lpwstr>
  </property>
</Properties>
</file>